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11"/>
  </p:notesMasterIdLst>
  <p:sldIdLst>
    <p:sldId id="2147483121" r:id="rId6"/>
    <p:sldId id="2147483116" r:id="rId7"/>
    <p:sldId id="2147483118" r:id="rId8"/>
    <p:sldId id="2147483119" r:id="rId9"/>
    <p:sldId id="2147483120" r:id="rId10"/>
  </p:sldIdLst>
  <p:sldSz cx="12192000" cy="6858000"/>
  <p:notesSz cx="6797675" cy="9872663"/>
  <p:custDataLst>
    <p:tags r:id="rId1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3121"/>
            <p14:sldId id="2147483116"/>
            <p14:sldId id="2147483118"/>
            <p14:sldId id="2147483119"/>
            <p14:sldId id="2147483120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" userId="S::VBonucchi@Nilfisk.com::a3c72a79-03ca-4054-8650-fe55237bf169" providerId="AD"/>
  <p188:author id="{6E784515-E970-77BD-BCC8-B132237FEA39}" name="Lise Lundgreen" initials="LL" userId="S::llundgreen@Nilfisk.com::850d87c9-91fe-43b0-8ad0-c09bca2e5553" providerId="AD"/>
  <p188:author id="{330F3C18-69E0-0B85-B042-CA6052901AA2}" name="Bill Fryman" initials="" userId="S::bfryman@Nilfisk.com::6ba29117-c7aa-4873-8245-2b19175ac866" providerId="AD"/>
  <p188:author id="{1D70E918-029A-92A4-F84C-64BBCF744EF1}" name="Christian Kiaer Sonderbaek" initials="CS" userId="S::csonderbaek@nilfisk.com::2d2fd8bd-6db5-47df-a5a5-cf18a335939c" providerId="AD"/>
  <p188:author id="{A0C6731C-A1A9-DDDC-4457-40A12B4C4798}" name="Lois Cannon" initials="LC" userId="S::lcannon@nilfisk.com::4261f7f7-c9ce-4d1d-b12c-1dfe6cd05a67" providerId="AD"/>
  <p188:author id="{4060A21E-D851-F375-96B2-A1241FE5E5F1}" name="Dino Ivasic" initials="" userId="S::v-divasic@Nilfisk.com::aaafbe8b-4c1c-4d10-9a18-78870e439889" providerId="AD"/>
  <p188:author id="{088A5324-7FDF-F5FB-E31A-3AA7FC60DD56}" name="Henriette Glaesel" initials="HG" userId="S::hglaesel@Nilfisk.com::84ac067e-1279-4b8c-bcaa-3fece5a027ef" providerId="AD"/>
  <p188:author id="{CCE1D22A-4564-FEA0-066D-AE80ED435C8C}" name="Line Skovbjerg" initials="LS" userId="S::lskovbjerg@Nilfisk.com::bd8d82be-b2a3-4297-892b-01dc5ddd9e5a" providerId="AD"/>
  <p188:author id="{A8C40F34-F431-9F4B-723D-D6F4FFA17F1F}" name="Cathrine Pedersen" initials="CP" userId="S::cpedersen@nilfisk.com::dc045f69-d505-451c-8404-252e28bb37b7" providerId="AD"/>
  <p188:author id="{B7140458-0269-A7A2-AF2D-3D47A414E238}" name="Nassera Ouraghi" initials="NO" userId="S::nouraghi@nilfisk.com::aa8371ad-2759-490c-ac4b-82efdf1a9e01" providerId="AD"/>
  <p188:author id="{F8DDDF70-BFA4-9122-644F-56C73CC5B4FA}" name="Valentina Bonucchi" initials="VB" userId="S::vbonucchi@nilfisk.com::a3c72a79-03ca-4054-8650-fe55237bf169" providerId="AD"/>
  <p188:author id="{853A087C-D504-1171-AF19-FE7C1311146B}" name="Thomas Brender" initials="" userId="S::tbrender@Nilfisk.com::fba71798-28ad-45a0-af2c-b16f100a9038" providerId="AD"/>
  <p188:author id="{6796E080-7C16-696C-420C-CBCF9F19F57D}" name="Ashton Wowchuk" initials="" userId="S::awowchuk@Nilfisk.com::406c40ca-e75b-4914-9f25-b806f5541d51" providerId="AD"/>
  <p188:author id="{7F01FE8E-E3BC-D50A-9D13-D37D9CE93CB6}" name="Nassera Ouraghi" initials="" userId="S::nouraghi@Nilfisk.com::aa8371ad-2759-490c-ac4b-82efdf1a9e01" providerId="AD"/>
  <p188:author id="{8F8BAFA2-F5C0-959C-5EF9-FC5D942B04CF}" name="Sarah Metz" initials="SM" userId="S::smetz@nilfisk.com::f289f567-a504-46b6-a248-6c16f73becc9" providerId="AD"/>
  <p188:author id="{D1B02AB4-C282-F730-56D2-F90E13AD1C98}" name="Winnie Korse" initials="WK" userId="S::v-wkorse@nilfisk.com::ac79d79f-fe32-4cea-ac40-a1d4240ff9d8" providerId="AD"/>
  <p188:author id="{6589D7B6-7D68-9633-A2DD-9C1F6B99529A}" name="Tine Maribo" initials="TM" userId="S::TMaribo@Nilfisk.com::541adeda-b521-4320-b16e-22c421cfdf6f" providerId="AD"/>
  <p188:author id="{613FEDC2-B21F-69D9-F6D7-71FC7431C363}" name="Christian Kiaer Sonderbaek" initials="" userId="S::csonderbaek@Nilfisk.com::2d2fd8bd-6db5-47df-a5a5-cf18a335939c" providerId="AD"/>
  <p188:author id="{27EC9ED2-985E-CD2C-4754-6205B1908A2C}" name="Dino Ivasic" initials="DI" userId="S::v-divasic@nilfisk.com::aaafbe8b-4c1c-4d10-9a18-78870e439889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32D3B0E9-9735-2D50-BAFD-4E778D04C341}" name="Sophie Sfez" initials="SS" userId="S::ssfez@Nilfisk.com::e8319035-f146-4c21-bff3-45cdba38e7a5" providerId="AD"/>
  <p188:author id="{037970EA-9323-909F-43E9-BE3F7D5C61B1}" name="Cathrine Pedersen" initials="" userId="S::cpedersen@Nilfisk.com::dc045f69-d505-451c-8404-252e28bb37b7" providerId="AD"/>
  <p188:author id="{02AE50F3-3041-0F4C-19D5-3847CB06A822}" name="Lise Lundgreen" initials="LL" userId="S::llundgreen@nilfisk.com::850d87c9-91fe-43b0-8ad0-c09bca2e5553" providerId="AD"/>
  <p188:author id="{DA64E2FF-EBA3-5BF9-59DD-6BDA2AAF9AA2}" name="Ashton Wowchuk" initials="AW" userId="S::awowchuk@nilfisk.com::406c40ca-e75b-4914-9f25-b806f5541d5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01924"/>
    <a:srgbClr val="DDCFBF"/>
    <a:srgbClr val="8997A4"/>
    <a:srgbClr val="7C878E"/>
    <a:srgbClr val="979797"/>
    <a:srgbClr val="4B4F54"/>
    <a:srgbClr val="606A70"/>
    <a:srgbClr val="D4CFBE"/>
    <a:srgbClr val="8282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24C81A-67DE-0C88-8943-29887808C82F}" v="2" dt="2024-09-16T08:22:32.847"/>
    <p1510:client id="{35F034E1-B0B1-4D39-B952-E3D8F9D131D4}" v="7" dt="2024-09-16T07:50:06.113"/>
    <p1510:client id="{3ACFBF98-5668-E1A0-F14A-3554397E67B4}" v="14" dt="2024-09-17T10:52:28.258"/>
    <p1510:client id="{3E288695-8EAE-2B0B-0EDA-CAA67F042CCD}" v="7" dt="2024-09-17T11:44:00.330"/>
    <p1510:client id="{6B6AAE6D-6C1B-2494-2EB1-E7B0AC60E079}" v="1" dt="2024-09-16T14:02:00.086"/>
    <p1510:client id="{84531320-46FA-7CD2-E8D6-F0A3116EEABA}" v="1" dt="2024-09-17T09:18:46.526"/>
    <p1510:client id="{8CF535FD-FA62-F087-2693-74357BC8B0D7}" v="5" dt="2024-09-17T11:16:13.153"/>
    <p1510:client id="{AF6939C8-9C5F-7817-CD23-94020BA6A257}" v="2" dt="2024-09-17T09:26:55.240"/>
    <p1510:client id="{AFEBB23C-5976-7458-71A8-AE30D30BACCB}" v="20" dt="2024-09-17T09:22:18.189"/>
    <p1510:client id="{B19C7872-5225-5549-9A19-3844E93749DC}" v="17" dt="2024-09-17T06:54:21.572"/>
    <p1510:client id="{B9373490-E9F2-4B06-903B-BACBB279A0CA}" v="1" dt="2024-09-16T08:24:27.518"/>
    <p1510:client id="{C8D2775D-E92B-60CB-9E12-B70A94DC647D}" v="18" dt="2024-09-16T07:33:38.190"/>
    <p1510:client id="{CB7098E2-C955-EDBA-7EEE-CD0D4AA67AAC}" v="2" dt="2024-09-16T14:13:46.756"/>
    <p1510:client id="{DCB8A1F6-3143-AFA5-E1A4-D1012E7D1CE5}" v="1" dt="2024-09-16T08:26:12.5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US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691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ags" Target="../tags/tag2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oleObject" Target="../embeddings/oleObject2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92460286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2" imgW="270" imgH="270" progId="TCLayout.ActiveDocument.1">
                  <p:embed/>
                </p:oleObj>
              </mc:Choice>
              <mc:Fallback>
                <p:oleObj name="Diapositiva think-cell" r:id="rId3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0/2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  <p:sldLayoutId id="2147483762" r:id="rId2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a14="http://schemas.microsoft.com/office/drawing/2010/main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C7BACF-F153-AD1E-37D4-09488980E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066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499" imgH="499" progId="TCLayout.ActiveDocument.1">
                  <p:embed/>
                </p:oleObj>
              </mc:Choice>
              <mc:Fallback>
                <p:oleObj name="Diapositiva think-cell" r:id="rId14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C7BACF-F153-AD1E-37D4-09488980E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29-10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5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7551DADF-DD30-4EE6-1B56-228B2579FF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sz="4800" dirty="0" err="1"/>
              <a:t>Viszonteladók</a:t>
            </a:r>
            <a:r>
              <a:rPr sz="4800" dirty="0"/>
              <a:t> </a:t>
            </a:r>
            <a:r>
              <a:rPr sz="4800" dirty="0" err="1"/>
              <a:t>ügyfeleinek</a:t>
            </a:r>
            <a:endParaRPr lang="en-US" sz="48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7D2AB9E-64CC-2663-7A50-03EB7E59DE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t>SoMe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4CD4051-30DB-FA6D-739C-1E9522123C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31C3D94-F9CC-ABC7-93ED-6EFAD0AB6D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72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err="1"/>
              <a:t>Viszonteladók</a:t>
            </a:r>
            <a:r>
              <a:rPr dirty="0"/>
              <a:t> </a:t>
            </a:r>
            <a:r>
              <a:rPr dirty="0" err="1"/>
              <a:t>ügyfeleinek</a:t>
            </a:r>
            <a:r>
              <a:rPr dirty="0"/>
              <a:t> </a:t>
            </a:r>
            <a:r>
              <a:rPr dirty="0" err="1"/>
              <a:t>SoMe</a:t>
            </a:r>
            <a:r>
              <a:rPr dirty="0"/>
              <a:t> #1</a:t>
            </a: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727187" cy="14003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>
                <a:latin typeface="Calibri"/>
                <a:cs typeface="Calibri"/>
              </a:rPr>
              <a:t>Készen áll?</a:t>
            </a:r>
            <a:r>
              <a:t> </a:t>
            </a:r>
            <a:r>
              <a:rPr sz="900">
                <a:solidFill>
                  <a:srgbClr val="333333"/>
                </a:solidFill>
                <a:latin typeface="Segoe UI"/>
                <a:cs typeface="Segoe UI"/>
              </a:rPr>
              <a:t>🌟 Rendelje meg a sajátját (hivatkozás az SSE űrlapra)</a:t>
            </a:r>
            <a:endParaRPr lang="en-DK" sz="800">
              <a:latin typeface="Calibri"/>
              <a:cs typeface="Calibri"/>
            </a:endParaRPr>
          </a:p>
          <a:p>
            <a:r>
              <a:rPr sz="800">
                <a:latin typeface="Calibri"/>
                <a:cs typeface="Calibri"/>
              </a:rPr>
              <a:t> A Nilfisk SC550 igazodik a szervezet speciális takarítási igényeihez és a kezelők egyéni igényeihez. </a:t>
            </a:r>
            <a:endParaRPr lang="en-DK" sz="800">
              <a:latin typeface="Calibri"/>
              <a:cs typeface="Calibri"/>
            </a:endParaRPr>
          </a:p>
          <a:p>
            <a:r>
              <a:rPr sz="800">
                <a:solidFill>
                  <a:srgbClr val="28313F"/>
                </a:solidFill>
                <a:latin typeface="Calibri"/>
                <a:cs typeface="Calibri"/>
              </a:rPr>
              <a:t>Röviden, az SC550-et úgy tervezték, hogy segítse csapata fejlődését és vállalkozása sikerét.</a:t>
            </a:r>
            <a:r>
              <a:t> </a:t>
            </a:r>
            <a:r>
              <a:rPr sz="900">
                <a:solidFill>
                  <a:srgbClr val="333333"/>
                </a:solidFill>
                <a:latin typeface="Segoe UI"/>
                <a:cs typeface="Segoe UI"/>
              </a:rPr>
              <a:t>🚀</a:t>
            </a:r>
            <a:r>
              <a:rPr sz="800">
                <a:latin typeface="Calibri"/>
                <a:cs typeface="Calibri"/>
              </a:rPr>
              <a:t> Rendelje meg a sajátját még ma, és tapasztalja meg a padlótisztítás új generációját!  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6FE9EE24-5FDD-9E5A-A619-F6630512CDAB}"/>
              </a:ext>
            </a:extLst>
          </p:cNvPr>
          <p:cNvSpPr>
            <a:spLocks noGrp="1"/>
          </p:cNvSpPr>
          <p:nvPr/>
        </p:nvSpPr>
        <p:spPr>
          <a:xfrm>
            <a:off x="7077980" y="2591700"/>
            <a:ext cx="3288727" cy="31340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600" b="1" dirty="0" err="1">
                <a:latin typeface="Roboto"/>
                <a:cs typeface="Roboto"/>
              </a:rPr>
              <a:t>Általános</a:t>
            </a:r>
            <a:endParaRPr sz="1600" b="1" dirty="0">
              <a:latin typeface="Roboto"/>
              <a:cs typeface="Roboto"/>
            </a:endParaRPr>
          </a:p>
          <a:p>
            <a:r>
              <a:rPr sz="1050" dirty="0" err="1">
                <a:cs typeface="Roboto"/>
              </a:rPr>
              <a:t>Közzététel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dátuma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november</a:t>
            </a:r>
            <a:r>
              <a:rPr sz="1050" dirty="0">
                <a:cs typeface="Roboto"/>
              </a:rPr>
              <a:t> 12.</a:t>
            </a:r>
          </a:p>
          <a:p>
            <a:r>
              <a:rPr sz="1050" dirty="0" err="1">
                <a:cs typeface="Roboto"/>
              </a:rPr>
              <a:t>Szöveg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képen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Üdvözöljük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padlótisztítás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új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generációjában</a:t>
            </a:r>
            <a:r>
              <a:rPr sz="1050" dirty="0">
                <a:cs typeface="Roboto"/>
              </a:rPr>
              <a:t>!</a:t>
            </a:r>
          </a:p>
          <a:p>
            <a:r>
              <a:rPr sz="1050" dirty="0" err="1">
                <a:cs typeface="Roboto"/>
              </a:rPr>
              <a:t>Szövegtörzs</a:t>
            </a:r>
            <a:r>
              <a:rPr sz="1050" dirty="0">
                <a:cs typeface="Roboto"/>
              </a:rPr>
              <a:t>:</a:t>
            </a:r>
          </a:p>
          <a:p>
            <a:r>
              <a:rPr sz="1050" dirty="0" err="1">
                <a:cs typeface="Roboto"/>
              </a:rPr>
              <a:t>Készen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áll</a:t>
            </a:r>
            <a:r>
              <a:rPr sz="1050" dirty="0">
                <a:cs typeface="Roboto"/>
              </a:rPr>
              <a:t>?</a:t>
            </a:r>
            <a:r>
              <a:rPr dirty="0"/>
              <a:t> </a:t>
            </a:r>
            <a:r>
              <a:rPr sz="900" dirty="0">
                <a:solidFill>
                  <a:srgbClr val="333333"/>
                </a:solidFill>
                <a:latin typeface="Segoe UI"/>
                <a:cs typeface="Segoe UI"/>
              </a:rPr>
              <a:t>🌟 </a:t>
            </a:r>
            <a:r>
              <a:rPr sz="900" dirty="0" err="1">
                <a:solidFill>
                  <a:srgbClr val="333333"/>
                </a:solidFill>
                <a:latin typeface="Segoe UI"/>
                <a:cs typeface="Segoe UI"/>
              </a:rPr>
              <a:t>Rendelje</a:t>
            </a:r>
            <a:r>
              <a:rPr lang="hu-HU" sz="900" dirty="0">
                <a:solidFill>
                  <a:srgbClr val="333333"/>
                </a:solidFill>
                <a:latin typeface="Segoe UI"/>
                <a:cs typeface="Segoe UI"/>
              </a:rPr>
              <a:t>n elsők közt! </a:t>
            </a:r>
          </a:p>
          <a:p>
            <a:r>
              <a:rPr sz="1050" dirty="0">
                <a:cs typeface="Roboto"/>
              </a:rPr>
              <a:t>A Nilfisk SC550 </a:t>
            </a:r>
            <a:r>
              <a:rPr sz="1050" dirty="0" err="1">
                <a:cs typeface="Roboto"/>
              </a:rPr>
              <a:t>igazodik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szervezet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speciális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takarítási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igényeihez</a:t>
            </a:r>
            <a:r>
              <a:rPr sz="1050" dirty="0">
                <a:cs typeface="Roboto"/>
              </a:rPr>
              <a:t> és a </a:t>
            </a:r>
            <a:r>
              <a:rPr sz="1050" dirty="0" err="1">
                <a:cs typeface="Roboto"/>
              </a:rPr>
              <a:t>kezelők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egyéni</a:t>
            </a:r>
            <a:r>
              <a:rPr sz="1050" dirty="0">
                <a:cs typeface="Roboto"/>
              </a:rPr>
              <a:t> </a:t>
            </a:r>
            <a:r>
              <a:rPr lang="hu-HU" sz="1050" dirty="0">
                <a:cs typeface="Roboto"/>
              </a:rPr>
              <a:t>szükségleteihez</a:t>
            </a:r>
            <a:r>
              <a:rPr sz="1050" dirty="0">
                <a:cs typeface="Roboto"/>
              </a:rPr>
              <a:t>. </a:t>
            </a:r>
            <a:endParaRPr lang="en-DK" sz="1050" dirty="0">
              <a:ea typeface="Roboto"/>
              <a:cs typeface="Roboto"/>
            </a:endParaRPr>
          </a:p>
          <a:p>
            <a:r>
              <a:rPr sz="1050" dirty="0" err="1">
                <a:cs typeface="Roboto"/>
              </a:rPr>
              <a:t>Röviden</a:t>
            </a:r>
            <a:r>
              <a:rPr sz="1050" dirty="0">
                <a:cs typeface="Roboto"/>
              </a:rPr>
              <a:t>, </a:t>
            </a:r>
            <a:r>
              <a:rPr sz="1050" dirty="0" err="1">
                <a:cs typeface="Roboto"/>
              </a:rPr>
              <a:t>az</a:t>
            </a:r>
            <a:r>
              <a:rPr sz="1050" dirty="0">
                <a:cs typeface="Roboto"/>
              </a:rPr>
              <a:t> SC550-et </a:t>
            </a:r>
            <a:r>
              <a:rPr sz="1050" dirty="0" err="1">
                <a:cs typeface="Roboto"/>
              </a:rPr>
              <a:t>úgy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terveztük</a:t>
            </a:r>
            <a:r>
              <a:rPr sz="1050" dirty="0">
                <a:cs typeface="Roboto"/>
              </a:rPr>
              <a:t>, </a:t>
            </a:r>
            <a:r>
              <a:rPr sz="1050" dirty="0" err="1">
                <a:cs typeface="Roboto"/>
              </a:rPr>
              <a:t>hogy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segítse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csapata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fejlődését</a:t>
            </a:r>
            <a:r>
              <a:rPr sz="1050" dirty="0">
                <a:cs typeface="Roboto"/>
              </a:rPr>
              <a:t> és </a:t>
            </a:r>
            <a:r>
              <a:rPr sz="1050" dirty="0" err="1">
                <a:cs typeface="Roboto"/>
              </a:rPr>
              <a:t>vállalkozása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sikerét</a:t>
            </a:r>
            <a:r>
              <a:rPr sz="1050" dirty="0">
                <a:cs typeface="Roboto"/>
              </a:rPr>
              <a:t>.</a:t>
            </a:r>
            <a:r>
              <a:rPr dirty="0"/>
              <a:t> </a:t>
            </a:r>
            <a:r>
              <a:rPr sz="900" dirty="0">
                <a:solidFill>
                  <a:srgbClr val="333333"/>
                </a:solidFill>
                <a:latin typeface="Segoe UI"/>
                <a:cs typeface="Segoe UI"/>
              </a:rPr>
              <a:t>🚀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Rendelje</a:t>
            </a:r>
            <a:r>
              <a:rPr sz="1050" dirty="0">
                <a:cs typeface="Roboto"/>
              </a:rPr>
              <a:t> meg </a:t>
            </a:r>
            <a:r>
              <a:rPr sz="1050" dirty="0" err="1">
                <a:cs typeface="Roboto"/>
              </a:rPr>
              <a:t>még</a:t>
            </a:r>
            <a:r>
              <a:rPr sz="1050" dirty="0">
                <a:cs typeface="Roboto"/>
              </a:rPr>
              <a:t> ma, és </a:t>
            </a:r>
            <a:r>
              <a:rPr sz="1050" dirty="0" err="1">
                <a:cs typeface="Roboto"/>
              </a:rPr>
              <a:t>tapasztalja</a:t>
            </a:r>
            <a:r>
              <a:rPr sz="1050" dirty="0">
                <a:cs typeface="Roboto"/>
              </a:rPr>
              <a:t> meg a </a:t>
            </a:r>
            <a:r>
              <a:rPr sz="1050" dirty="0" err="1">
                <a:cs typeface="Roboto"/>
              </a:rPr>
              <a:t>padlótisztítás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új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generációját</a:t>
            </a:r>
            <a:r>
              <a:rPr sz="1050" dirty="0">
                <a:cs typeface="Roboto"/>
              </a:rPr>
              <a:t>! </a:t>
            </a:r>
          </a:p>
          <a:p>
            <a:r>
              <a:rPr sz="1050" dirty="0">
                <a:cs typeface="Roboto"/>
              </a:rPr>
              <a:t>(</a:t>
            </a:r>
            <a:r>
              <a:rPr sz="1050" dirty="0" err="1">
                <a:cs typeface="Roboto"/>
              </a:rPr>
              <a:t>hivatkozás</a:t>
            </a:r>
            <a:r>
              <a:rPr lang="hu-HU" sz="1050" dirty="0">
                <a:cs typeface="Roboto"/>
              </a:rPr>
              <a:t>: https://www.nilfisk.com/hu-hu/professional/campaigns/sc550/#contact</a:t>
            </a:r>
            <a:r>
              <a:rPr sz="1050" dirty="0">
                <a:cs typeface="Roboto"/>
              </a:rPr>
              <a:t>)</a:t>
            </a:r>
          </a:p>
          <a:p>
            <a:pPr>
              <a:spcBef>
                <a:spcPts val="0"/>
              </a:spcBef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Organic SoMe #2">
            <a:hlinkClick r:id="" action="ppaction://media"/>
            <a:extLst>
              <a:ext uri="{FF2B5EF4-FFF2-40B4-BE49-F238E27FC236}">
                <a16:creationId xmlns:a16="http://schemas.microsoft.com/office/drawing/2014/main" id="{26B6DB37-C754-5B69-61D1-8920D8F2179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53275" y="3947335"/>
            <a:ext cx="1882519" cy="981949"/>
          </a:xfrm>
          <a:prstGeom prst="rect">
            <a:avLst/>
          </a:prstGeom>
        </p:spPr>
      </p:pic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444F6AC4-2362-6659-567A-3282B7CE37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Méret: 1200x627</a:t>
            </a:r>
          </a:p>
          <a:p>
            <a:r>
              <a:rPr sz="800"/>
              <a:t>Felelős: Thomas/Ashton</a:t>
            </a:r>
          </a:p>
          <a:p>
            <a:r>
              <a:rPr sz="800"/>
              <a:t>Státusz: Jóváhagyásra vár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289814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959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28788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err="1"/>
              <a:t>Viszonteladók</a:t>
            </a:r>
            <a:r>
              <a:rPr dirty="0"/>
              <a:t> </a:t>
            </a:r>
            <a:r>
              <a:rPr dirty="0" err="1"/>
              <a:t>ügyfeleinek</a:t>
            </a:r>
            <a:r>
              <a:rPr dirty="0"/>
              <a:t> </a:t>
            </a:r>
            <a:r>
              <a:rPr dirty="0" err="1"/>
              <a:t>SoMe</a:t>
            </a:r>
            <a:r>
              <a:rPr dirty="0"/>
              <a:t> #2</a:t>
            </a: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727187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>
                <a:highlight>
                  <a:srgbClr val="FFFF00"/>
                </a:highlight>
                <a:cs typeface="Roboto"/>
              </a:rPr>
              <a:t>Legyen az első, aki bemutatót foglal (hivatkozás az SSE űrlapra)</a:t>
            </a:r>
          </a:p>
          <a:p>
            <a:r>
              <a:rPr sz="800">
                <a:latin typeface="Calibri"/>
                <a:cs typeface="Calibri"/>
              </a:rPr>
              <a:t>Vigyázz, kész, takarít! Az egyszerűen megtanulható és intuitívan használható Nilfisk SC550 gyorsan elviszi Önt a bejárattól az emeletig, és könnyedén megbirkózik a nehéz feladatokkal.  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20F41CD0-357F-D506-3846-3EC0572CA6DD}"/>
              </a:ext>
            </a:extLst>
          </p:cNvPr>
          <p:cNvSpPr>
            <a:spLocks noGrp="1"/>
          </p:cNvSpPr>
          <p:nvPr/>
        </p:nvSpPr>
        <p:spPr>
          <a:xfrm>
            <a:off x="8148639" y="2557096"/>
            <a:ext cx="2068788" cy="32771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600" b="1" dirty="0" err="1">
                <a:latin typeface="Roboto"/>
                <a:cs typeface="Roboto"/>
              </a:rPr>
              <a:t>Gyorsan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használatra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kész</a:t>
            </a:r>
            <a:endParaRPr sz="1600" b="1" dirty="0">
              <a:latin typeface="Roboto"/>
              <a:cs typeface="Roboto"/>
            </a:endParaRPr>
          </a:p>
          <a:p>
            <a:r>
              <a:rPr sz="1050" dirty="0" err="1">
                <a:cs typeface="Roboto"/>
              </a:rPr>
              <a:t>Közzététel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dátuma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október</a:t>
            </a:r>
            <a:r>
              <a:rPr sz="1050" dirty="0">
                <a:cs typeface="Roboto"/>
              </a:rPr>
              <a:t> 17.</a:t>
            </a:r>
          </a:p>
          <a:p>
            <a:r>
              <a:rPr sz="1050" dirty="0" err="1">
                <a:cs typeface="Roboto"/>
              </a:rPr>
              <a:t>Szöveg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képen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Pillanatok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alatt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használatra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kész</a:t>
            </a:r>
            <a:endParaRPr sz="1050" dirty="0">
              <a:cs typeface="Roboto"/>
            </a:endParaRPr>
          </a:p>
          <a:p>
            <a:r>
              <a:rPr sz="1050" dirty="0" err="1">
                <a:cs typeface="Roboto"/>
              </a:rPr>
              <a:t>Szövegtörzs</a:t>
            </a:r>
            <a:r>
              <a:rPr sz="1050" dirty="0">
                <a:cs typeface="Roboto"/>
              </a:rPr>
              <a:t>:</a:t>
            </a:r>
          </a:p>
          <a:p>
            <a:r>
              <a:rPr sz="1050" dirty="0" err="1">
                <a:cs typeface="Roboto"/>
              </a:rPr>
              <a:t>Legyen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az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első</a:t>
            </a:r>
            <a:r>
              <a:rPr sz="1050" dirty="0">
                <a:cs typeface="Roboto"/>
              </a:rPr>
              <a:t>, </a:t>
            </a:r>
            <a:r>
              <a:rPr sz="1050" dirty="0" err="1">
                <a:cs typeface="Roboto"/>
              </a:rPr>
              <a:t>aki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bemutatót</a:t>
            </a:r>
            <a:r>
              <a:rPr sz="1050" dirty="0">
                <a:cs typeface="Roboto"/>
              </a:rPr>
              <a:t> </a:t>
            </a:r>
            <a:r>
              <a:rPr lang="hu-HU" sz="1050" dirty="0">
                <a:cs typeface="Roboto"/>
              </a:rPr>
              <a:t>igényel</a:t>
            </a:r>
            <a:r>
              <a:rPr sz="1050" dirty="0">
                <a:cs typeface="Roboto"/>
              </a:rPr>
              <a:t> </a:t>
            </a:r>
            <a:r>
              <a:rPr sz="1050" dirty="0">
                <a:highlight>
                  <a:srgbClr val="FFFF00"/>
                </a:highlight>
                <a:cs typeface="Roboto"/>
              </a:rPr>
              <a:t>(</a:t>
            </a:r>
            <a:r>
              <a:rPr lang="hu-HU" sz="1050" dirty="0">
                <a:highlight>
                  <a:srgbClr val="FFFF00"/>
                </a:highlight>
                <a:cs typeface="Roboto"/>
              </a:rPr>
              <a:t>https://www.nilfisk.com/hu-hu/professional/campaigns/sc550/#contact</a:t>
            </a:r>
            <a:r>
              <a:rPr sz="1050" dirty="0">
                <a:highlight>
                  <a:srgbClr val="FFFF00"/>
                </a:highlight>
                <a:cs typeface="Roboto"/>
              </a:rPr>
              <a:t>)</a:t>
            </a:r>
          </a:p>
          <a:p>
            <a:r>
              <a:rPr sz="1050" dirty="0" err="1">
                <a:cs typeface="Roboto"/>
              </a:rPr>
              <a:t>Vigyázz</a:t>
            </a:r>
            <a:r>
              <a:rPr sz="1050" dirty="0">
                <a:cs typeface="Roboto"/>
              </a:rPr>
              <a:t>, </a:t>
            </a:r>
            <a:r>
              <a:rPr sz="1050" dirty="0" err="1">
                <a:cs typeface="Roboto"/>
              </a:rPr>
              <a:t>kész</a:t>
            </a:r>
            <a:r>
              <a:rPr sz="1050" dirty="0">
                <a:cs typeface="Roboto"/>
              </a:rPr>
              <a:t>, </a:t>
            </a:r>
            <a:r>
              <a:rPr sz="1050" dirty="0" err="1">
                <a:cs typeface="Roboto"/>
              </a:rPr>
              <a:t>takarít</a:t>
            </a:r>
            <a:r>
              <a:rPr sz="1050" dirty="0">
                <a:cs typeface="Roboto"/>
              </a:rPr>
              <a:t>! Az </a:t>
            </a:r>
            <a:r>
              <a:rPr sz="1050" dirty="0" err="1">
                <a:cs typeface="Roboto"/>
              </a:rPr>
              <a:t>egyszerűen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megtanulható</a:t>
            </a:r>
            <a:r>
              <a:rPr sz="1050" dirty="0">
                <a:cs typeface="Roboto"/>
              </a:rPr>
              <a:t> és </a:t>
            </a:r>
            <a:r>
              <a:rPr sz="1050" dirty="0" err="1">
                <a:cs typeface="Roboto"/>
              </a:rPr>
              <a:t>intuitívan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használható</a:t>
            </a:r>
            <a:r>
              <a:rPr sz="1050" dirty="0">
                <a:cs typeface="Roboto"/>
              </a:rPr>
              <a:t> Nilfisk SC550 </a:t>
            </a:r>
            <a:r>
              <a:rPr sz="1050" dirty="0" err="1">
                <a:cs typeface="Roboto"/>
              </a:rPr>
              <a:t>gyorsan</a:t>
            </a:r>
            <a:r>
              <a:rPr sz="1050" dirty="0">
                <a:cs typeface="Roboto"/>
              </a:rPr>
              <a:t> és </a:t>
            </a:r>
            <a:r>
              <a:rPr sz="1050" dirty="0" err="1">
                <a:cs typeface="Roboto"/>
              </a:rPr>
              <a:t>könnyedén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megbirkózik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nehéz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feladatokkal</a:t>
            </a:r>
            <a:r>
              <a:rPr sz="1050" dirty="0">
                <a:cs typeface="Roboto"/>
              </a:rPr>
              <a:t>. (</a:t>
            </a:r>
            <a:r>
              <a:rPr sz="1050" dirty="0" err="1">
                <a:cs typeface="Roboto"/>
              </a:rPr>
              <a:t>hivatkozás</a:t>
            </a:r>
            <a:r>
              <a:rPr lang="hu-HU" sz="1050" dirty="0">
                <a:cs typeface="Roboto"/>
              </a:rPr>
              <a:t>: https://www.nilfisk.com/hu-hu/professional/campaigns/sc550/</a:t>
            </a:r>
            <a:r>
              <a:rPr sz="1050" dirty="0">
                <a:cs typeface="Roboto"/>
              </a:rPr>
              <a:t>) </a:t>
            </a:r>
          </a:p>
          <a:p>
            <a:pPr>
              <a:spcBef>
                <a:spcPts val="0"/>
              </a:spcBef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8FA04C19-5FAD-EFF2-7633-A137236514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Méret: 1200x1200</a:t>
            </a:r>
          </a:p>
          <a:p>
            <a:r>
              <a:rPr sz="800"/>
              <a:t>Felelős: Thomas/Ashton</a:t>
            </a:r>
          </a:p>
          <a:p>
            <a:r>
              <a:rPr sz="800"/>
              <a:t>Státusz: Jóváhagyásra vár</a:t>
            </a:r>
            <a:endParaRPr lang="en-DK" sz="800"/>
          </a:p>
        </p:txBody>
      </p:sp>
      <p:pic>
        <p:nvPicPr>
          <p:cNvPr id="6" name="Organic SoMe #4 1x1">
            <a:hlinkClick r:id="" action="ppaction://media"/>
            <a:extLst>
              <a:ext uri="{FF2B5EF4-FFF2-40B4-BE49-F238E27FC236}">
                <a16:creationId xmlns:a16="http://schemas.microsoft.com/office/drawing/2014/main" id="{E308529F-E7C0-BB79-75D3-FEFBFB60837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9379" y="3322091"/>
            <a:ext cx="1937193" cy="1937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8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58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err="1"/>
              <a:t>Viszonteladók</a:t>
            </a:r>
            <a:r>
              <a:rPr dirty="0"/>
              <a:t> </a:t>
            </a:r>
            <a:r>
              <a:rPr dirty="0" err="1"/>
              <a:t>ügyfeleinek</a:t>
            </a:r>
            <a:r>
              <a:rPr dirty="0"/>
              <a:t> </a:t>
            </a:r>
            <a:r>
              <a:rPr dirty="0" err="1"/>
              <a:t>SoMe</a:t>
            </a:r>
            <a:r>
              <a:rPr dirty="0"/>
              <a:t> #3</a:t>
            </a: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837476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>
                <a:latin typeface="Calibri"/>
                <a:cs typeface="Calibri"/>
              </a:rPr>
              <a:t>Tegyen jó benyomást: legyen környezetbarát!</a:t>
            </a:r>
            <a:r>
              <a:t> </a:t>
            </a:r>
            <a:r>
              <a:rPr sz="1000">
                <a:solidFill>
                  <a:srgbClr val="636363"/>
                </a:solidFill>
                <a:latin typeface="Roboto Light"/>
                <a:cs typeface="Roboto Light"/>
              </a:rPr>
              <a:t>🌍 </a:t>
            </a:r>
            <a:br>
              <a:rPr sz="800">
                <a:latin typeface="Calibri"/>
                <a:cs typeface="Calibri"/>
              </a:rPr>
            </a:br>
            <a:r>
              <a:rPr sz="800">
                <a:latin typeface="Calibri"/>
                <a:cs typeface="Calibri"/>
              </a:rPr>
              <a:t>Az új SC550 akár 27%-kal kevesebb energiát fogyaszt, mint a korábbi modellek, és mégis álomszerűen tisztít.</a:t>
            </a:r>
            <a:r>
              <a:rPr sz="800">
                <a:cs typeface="+mn-lt"/>
              </a:rPr>
              <a:t>⚡</a:t>
            </a:r>
            <a:endParaRPr lang="en-GB" sz="800">
              <a:latin typeface="Calibri"/>
              <a:cs typeface="Calibri"/>
            </a:endParaRPr>
          </a:p>
          <a:p>
            <a:r>
              <a:rPr sz="800">
                <a:latin typeface="Calibri"/>
                <a:cs typeface="Calibri"/>
              </a:rPr>
              <a:t>(hivatkozás az SSE űrlapra) 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8823" y="3208671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Foglaljon bemutatót elsőként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F428DEE1-D263-858E-2435-CFC1C89B6D75}"/>
              </a:ext>
            </a:extLst>
          </p:cNvPr>
          <p:cNvSpPr>
            <a:spLocks noGrp="1"/>
          </p:cNvSpPr>
          <p:nvPr/>
        </p:nvSpPr>
        <p:spPr>
          <a:xfrm>
            <a:off x="7744931" y="2668566"/>
            <a:ext cx="2413492" cy="20791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600" b="1" dirty="0" err="1">
                <a:latin typeface="Roboto"/>
                <a:cs typeface="Roboto"/>
              </a:rPr>
              <a:t>Tegyen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jó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benyomást</a:t>
            </a:r>
            <a:r>
              <a:rPr sz="1600" b="1" dirty="0">
                <a:latin typeface="Roboto"/>
                <a:cs typeface="Roboto"/>
              </a:rPr>
              <a:t>: </a:t>
            </a:r>
            <a:r>
              <a:rPr sz="1600" b="1" dirty="0" err="1">
                <a:latin typeface="Roboto"/>
                <a:cs typeface="Roboto"/>
              </a:rPr>
              <a:t>legyen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környezetbarát</a:t>
            </a:r>
            <a:r>
              <a:rPr sz="1600" b="1" dirty="0">
                <a:latin typeface="Roboto"/>
                <a:cs typeface="Roboto"/>
              </a:rPr>
              <a:t>!</a:t>
            </a:r>
          </a:p>
          <a:p>
            <a:r>
              <a:rPr sz="1050" dirty="0" err="1">
                <a:cs typeface="Roboto"/>
              </a:rPr>
              <a:t>Közzététel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dátuma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október</a:t>
            </a:r>
            <a:r>
              <a:rPr sz="1050" dirty="0">
                <a:cs typeface="Roboto"/>
              </a:rPr>
              <a:t> 22.</a:t>
            </a:r>
          </a:p>
          <a:p>
            <a:r>
              <a:rPr sz="1050" dirty="0" err="1">
                <a:cs typeface="Roboto"/>
              </a:rPr>
              <a:t>Szöveg</a:t>
            </a:r>
            <a:r>
              <a:rPr sz="1050" dirty="0">
                <a:cs typeface="Roboto"/>
              </a:rPr>
              <a:t> a </a:t>
            </a:r>
            <a:r>
              <a:rPr sz="1050" dirty="0" err="1">
                <a:cs typeface="Roboto"/>
              </a:rPr>
              <a:t>képen</a:t>
            </a:r>
            <a:r>
              <a:rPr sz="1050" dirty="0">
                <a:cs typeface="Roboto"/>
              </a:rPr>
              <a:t>: </a:t>
            </a:r>
            <a:r>
              <a:rPr sz="1050" dirty="0" err="1">
                <a:cs typeface="Roboto"/>
              </a:rPr>
              <a:t>Erőteljes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tisztítás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kevesebb</a:t>
            </a:r>
            <a:r>
              <a:rPr sz="1050" dirty="0">
                <a:cs typeface="Roboto"/>
              </a:rPr>
              <a:t> </a:t>
            </a:r>
            <a:r>
              <a:rPr sz="1050" dirty="0" err="1">
                <a:cs typeface="Roboto"/>
              </a:rPr>
              <a:t>energiával</a:t>
            </a:r>
            <a:endParaRPr sz="1050" dirty="0">
              <a:cs typeface="Roboto"/>
            </a:endParaRPr>
          </a:p>
          <a:p>
            <a:r>
              <a:rPr sz="1050" dirty="0" err="1">
                <a:cs typeface="Roboto"/>
              </a:rPr>
              <a:t>Szövegtörzs</a:t>
            </a:r>
            <a:r>
              <a:rPr sz="1050" dirty="0">
                <a:cs typeface="Roboto"/>
              </a:rPr>
              <a:t>:</a:t>
            </a:r>
          </a:p>
          <a:p>
            <a:r>
              <a:rPr sz="1000" dirty="0" err="1">
                <a:solidFill>
                  <a:srgbClr val="636363"/>
                </a:solidFill>
                <a:cs typeface="+mn-lt"/>
              </a:rPr>
              <a:t>Tegyen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jó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benyomást</a:t>
            </a:r>
            <a:r>
              <a:rPr sz="1000" dirty="0">
                <a:solidFill>
                  <a:srgbClr val="636363"/>
                </a:solidFill>
                <a:cs typeface="+mn-lt"/>
              </a:rPr>
              <a:t>: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legyen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környezetbarát</a:t>
            </a:r>
            <a:r>
              <a:rPr sz="1000" dirty="0">
                <a:solidFill>
                  <a:srgbClr val="636363"/>
                </a:solidFill>
                <a:cs typeface="+mn-lt"/>
              </a:rPr>
              <a:t>!🌍 Az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új</a:t>
            </a:r>
            <a:r>
              <a:rPr sz="1000" dirty="0">
                <a:solidFill>
                  <a:srgbClr val="636363"/>
                </a:solidFill>
                <a:cs typeface="+mn-lt"/>
              </a:rPr>
              <a:t> Nilfisk SC550 </a:t>
            </a:r>
            <a:r>
              <a:rPr sz="1000" dirty="0" err="1">
                <a:cs typeface="+mn-lt"/>
              </a:rPr>
              <a:t>akár</a:t>
            </a:r>
            <a:r>
              <a:rPr sz="1000" dirty="0">
                <a:cs typeface="+mn-lt"/>
              </a:rPr>
              <a:t> 27%-kal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kevesebb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energiát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fogyaszt</a:t>
            </a:r>
            <a:r>
              <a:rPr sz="1000" dirty="0">
                <a:solidFill>
                  <a:srgbClr val="636363"/>
                </a:solidFill>
                <a:cs typeface="+mn-lt"/>
              </a:rPr>
              <a:t>, mint a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korábbi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modellek</a:t>
            </a:r>
            <a:r>
              <a:rPr sz="1000" dirty="0">
                <a:solidFill>
                  <a:srgbClr val="636363"/>
                </a:solidFill>
                <a:cs typeface="+mn-lt"/>
              </a:rPr>
              <a:t>, és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mégis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álomszerűen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tisztít</a:t>
            </a:r>
            <a:r>
              <a:rPr sz="1000" dirty="0">
                <a:solidFill>
                  <a:srgbClr val="636363"/>
                </a:solidFill>
                <a:cs typeface="+mn-lt"/>
              </a:rPr>
              <a:t>.⚡️ </a:t>
            </a:r>
          </a:p>
          <a:p>
            <a:r>
              <a:rPr sz="1000" dirty="0" err="1">
                <a:solidFill>
                  <a:srgbClr val="636363"/>
                </a:solidFill>
                <a:cs typeface="+mn-lt"/>
              </a:rPr>
              <a:t>Legyen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az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első</a:t>
            </a:r>
            <a:r>
              <a:rPr sz="1000" dirty="0">
                <a:solidFill>
                  <a:srgbClr val="636363"/>
                </a:solidFill>
                <a:cs typeface="+mn-lt"/>
              </a:rPr>
              <a:t>,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aki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00" dirty="0" err="1">
                <a:solidFill>
                  <a:srgbClr val="636363"/>
                </a:solidFill>
                <a:cs typeface="+mn-lt"/>
              </a:rPr>
              <a:t>bemutatót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lang="hu-HU" sz="1000" dirty="0">
                <a:solidFill>
                  <a:srgbClr val="636363"/>
                </a:solidFill>
                <a:cs typeface="+mn-lt"/>
              </a:rPr>
              <a:t>igényel</a:t>
            </a:r>
            <a:r>
              <a:rPr sz="1000" dirty="0">
                <a:solidFill>
                  <a:srgbClr val="636363"/>
                </a:solidFill>
                <a:cs typeface="+mn-lt"/>
              </a:rPr>
              <a:t> </a:t>
            </a:r>
            <a:r>
              <a:rPr sz="1050" dirty="0">
                <a:cs typeface="Roboto"/>
              </a:rPr>
              <a:t>(</a:t>
            </a:r>
            <a:r>
              <a:rPr sz="1050" dirty="0" err="1">
                <a:cs typeface="Roboto"/>
              </a:rPr>
              <a:t>hivatkozás</a:t>
            </a:r>
            <a:r>
              <a:rPr sz="1050" dirty="0">
                <a:cs typeface="Roboto"/>
              </a:rPr>
              <a:t> </a:t>
            </a:r>
            <a:r>
              <a:rPr lang="hu-HU" sz="1050" dirty="0">
                <a:highlight>
                  <a:srgbClr val="FFFF00"/>
                </a:highlight>
                <a:cs typeface="Roboto"/>
              </a:rPr>
              <a:t>https://www.nilfisk.com/hu-hu/professional/campaigns/sc550/#contact</a:t>
            </a:r>
            <a:r>
              <a:rPr sz="1050" dirty="0">
                <a:highlight>
                  <a:srgbClr val="FFFF00"/>
                </a:highlight>
                <a:cs typeface="Roboto"/>
              </a:rPr>
              <a:t>)</a:t>
            </a:r>
          </a:p>
          <a:p>
            <a:pPr>
              <a:spcBef>
                <a:spcPts val="0"/>
              </a:spcBef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9" name="Organic SoMe #5 1x1">
            <a:hlinkClick r:id="" action="ppaction://media"/>
            <a:extLst>
              <a:ext uri="{FF2B5EF4-FFF2-40B4-BE49-F238E27FC236}">
                <a16:creationId xmlns:a16="http://schemas.microsoft.com/office/drawing/2014/main" id="{040217BB-56FB-EB1B-F520-CC1A8BFB3BC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1863" y="3477473"/>
            <a:ext cx="1944709" cy="1944709"/>
          </a:xfrm>
          <a:prstGeom prst="rect">
            <a:avLst/>
          </a:prstGeom>
        </p:spPr>
      </p:pic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A7726904-D738-BCFA-5DA1-DCFC990A7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Méret: 1200x1200</a:t>
            </a:r>
          </a:p>
          <a:p>
            <a:r>
              <a:rPr sz="800"/>
              <a:t>Felelős: Thomas/Ashton</a:t>
            </a:r>
          </a:p>
          <a:p>
            <a:r>
              <a:rPr sz="800"/>
              <a:t>Státusz: Jóváhagyásra vár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241043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959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6041155-4225-9003-6DBB-EEEEC81259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t>BIZALMAS VÁLLALATI INFORMÁCIÓK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1EA273C-1A90-AE2E-3529-12C521E3D1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47DD55E-4301-0465-1739-BEAC8126C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err="1"/>
              <a:t>Viszonteladók</a:t>
            </a:r>
            <a:r>
              <a:rPr dirty="0"/>
              <a:t> </a:t>
            </a:r>
            <a:r>
              <a:rPr dirty="0" err="1"/>
              <a:t>ügyfeleinek</a:t>
            </a:r>
            <a:r>
              <a:rPr dirty="0"/>
              <a:t> </a:t>
            </a:r>
            <a:r>
              <a:rPr dirty="0" err="1"/>
              <a:t>SoMe</a:t>
            </a:r>
            <a:r>
              <a:rPr dirty="0"/>
              <a:t> #4</a:t>
            </a:r>
          </a:p>
        </p:txBody>
      </p:sp>
      <p:pic>
        <p:nvPicPr>
          <p:cNvPr id="10" name="Billede 5" descr="Et billede, der indeholder Mobiltelefon, Kommunikationsenhed, Transportabel kommunikationsenhed, Mobilenhed&#10;&#10;Automatisk genereret beskrivelse">
            <a:extLst>
              <a:ext uri="{FF2B5EF4-FFF2-40B4-BE49-F238E27FC236}">
                <a16:creationId xmlns:a16="http://schemas.microsoft.com/office/drawing/2014/main" id="{D655E980-3006-11DB-02D4-4467A92461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949" y="1362343"/>
            <a:ext cx="2639033" cy="469161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67086BFB-A0A3-A750-03B8-2810D1EA8FFB}"/>
              </a:ext>
            </a:extLst>
          </p:cNvPr>
          <p:cNvSpPr txBox="1"/>
          <p:nvPr/>
        </p:nvSpPr>
        <p:spPr>
          <a:xfrm>
            <a:off x="4628823" y="2481108"/>
            <a:ext cx="1727187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sz="800">
                <a:latin typeface="Calibri"/>
                <a:cs typeface="Calibri"/>
              </a:rPr>
              <a:t>Akár magas, alacsony vagy közepes termetű, az SC550 Önnek készült! Az új Nilfisk padlótisztítónk állítható kormányoszloppal rendelkezik, így a kezelők testmagasságtól függetlenül kényelmesen, ergonomikus pozícióban dolgozhatnak. </a:t>
            </a:r>
            <a:endParaRPr lang="en-DK" sz="800">
              <a:latin typeface="Calibri"/>
              <a:ea typeface="Calibri"/>
              <a:cs typeface="Calibri"/>
            </a:endParaRP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1E5BD08-B4A6-7940-99A6-F88263D8A341}"/>
              </a:ext>
            </a:extLst>
          </p:cNvPr>
          <p:cNvSpPr txBox="1"/>
          <p:nvPr/>
        </p:nvSpPr>
        <p:spPr>
          <a:xfrm>
            <a:off x="4628823" y="3208671"/>
            <a:ext cx="18377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sz="700" b="1">
                <a:solidFill>
                  <a:schemeClr val="accent3"/>
                </a:solidFill>
                <a:latin typeface="Arial"/>
                <a:cs typeface="Arial"/>
              </a:rPr>
              <a:t>Foglaljon bemutatót elsőként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E9BD3ABC-C6DD-F32D-5295-1506B37A97EF}"/>
              </a:ext>
            </a:extLst>
          </p:cNvPr>
          <p:cNvSpPr>
            <a:spLocks noGrp="1"/>
          </p:cNvSpPr>
          <p:nvPr/>
        </p:nvSpPr>
        <p:spPr>
          <a:xfrm>
            <a:off x="8218212" y="1991685"/>
            <a:ext cx="2405321" cy="20791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600" b="1" dirty="0">
                <a:latin typeface="Roboto"/>
                <a:cs typeface="Roboto"/>
              </a:rPr>
              <a:t>Az </a:t>
            </a:r>
            <a:r>
              <a:rPr sz="1600" b="1" dirty="0" err="1">
                <a:latin typeface="Roboto"/>
                <a:cs typeface="Roboto"/>
              </a:rPr>
              <a:t>Ön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igényeire</a:t>
            </a:r>
            <a:r>
              <a:rPr sz="1600" b="1" dirty="0">
                <a:latin typeface="Roboto"/>
                <a:cs typeface="Roboto"/>
              </a:rPr>
              <a:t> </a:t>
            </a:r>
            <a:r>
              <a:rPr sz="1600" b="1" dirty="0" err="1">
                <a:latin typeface="Roboto"/>
                <a:cs typeface="Roboto"/>
              </a:rPr>
              <a:t>szabva</a:t>
            </a:r>
            <a:endParaRPr sz="1600" b="1" dirty="0">
              <a:latin typeface="Roboto"/>
              <a:cs typeface="Roboto"/>
            </a:endParaRPr>
          </a:p>
          <a:p>
            <a:r>
              <a:rPr sz="1050" dirty="0" err="1">
                <a:cs typeface="Calibri"/>
              </a:rPr>
              <a:t>Közzététel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dátuma</a:t>
            </a:r>
            <a:r>
              <a:rPr sz="1050" dirty="0">
                <a:cs typeface="Calibri"/>
              </a:rPr>
              <a:t>: </a:t>
            </a:r>
            <a:r>
              <a:rPr sz="1050" dirty="0" err="1">
                <a:cs typeface="Calibri"/>
              </a:rPr>
              <a:t>október</a:t>
            </a:r>
            <a:r>
              <a:rPr sz="1050" dirty="0">
                <a:cs typeface="Calibri"/>
              </a:rPr>
              <a:t> 29.</a:t>
            </a:r>
          </a:p>
          <a:p>
            <a:r>
              <a:rPr sz="1050" dirty="0" err="1">
                <a:cs typeface="Calibri"/>
              </a:rPr>
              <a:t>Szöveg</a:t>
            </a:r>
            <a:r>
              <a:rPr sz="1050" dirty="0">
                <a:cs typeface="Calibri"/>
              </a:rPr>
              <a:t> a </a:t>
            </a:r>
            <a:r>
              <a:rPr sz="1050" dirty="0" err="1">
                <a:cs typeface="Calibri"/>
              </a:rPr>
              <a:t>képen</a:t>
            </a:r>
            <a:r>
              <a:rPr sz="1050" dirty="0">
                <a:cs typeface="Calibri"/>
              </a:rPr>
              <a:t>: </a:t>
            </a:r>
            <a:r>
              <a:rPr sz="1050" dirty="0" err="1">
                <a:cs typeface="Calibri"/>
              </a:rPr>
              <a:t>Önnek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terveztük</a:t>
            </a:r>
            <a:r>
              <a:rPr sz="1050" dirty="0">
                <a:cs typeface="Calibri"/>
              </a:rPr>
              <a:t> </a:t>
            </a:r>
          </a:p>
          <a:p>
            <a:r>
              <a:rPr sz="1050" dirty="0" err="1">
                <a:cs typeface="Calibri"/>
              </a:rPr>
              <a:t>Szövegtörzs</a:t>
            </a:r>
            <a:r>
              <a:rPr sz="1050" dirty="0">
                <a:cs typeface="Calibri"/>
              </a:rPr>
              <a:t>:</a:t>
            </a:r>
          </a:p>
          <a:p>
            <a:r>
              <a:rPr sz="1050" dirty="0" err="1">
                <a:cs typeface="Calibri"/>
              </a:rPr>
              <a:t>Akár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magas</a:t>
            </a:r>
            <a:r>
              <a:rPr sz="1050" dirty="0">
                <a:cs typeface="Calibri"/>
              </a:rPr>
              <a:t>, </a:t>
            </a:r>
            <a:r>
              <a:rPr sz="1050" dirty="0" err="1">
                <a:cs typeface="Calibri"/>
              </a:rPr>
              <a:t>alacsony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vagy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közepes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termetű</a:t>
            </a:r>
            <a:r>
              <a:rPr sz="1050" dirty="0">
                <a:cs typeface="Calibri"/>
              </a:rPr>
              <a:t>, </a:t>
            </a:r>
            <a:r>
              <a:rPr sz="1050" dirty="0" err="1">
                <a:cs typeface="Calibri"/>
              </a:rPr>
              <a:t>az</a:t>
            </a:r>
            <a:r>
              <a:rPr sz="1050" dirty="0">
                <a:cs typeface="Calibri"/>
              </a:rPr>
              <a:t> SC550 </a:t>
            </a:r>
            <a:r>
              <a:rPr sz="1050" dirty="0" err="1">
                <a:cs typeface="Calibri"/>
              </a:rPr>
              <a:t>Önnek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készült</a:t>
            </a:r>
            <a:r>
              <a:rPr sz="1050" dirty="0">
                <a:cs typeface="Calibri"/>
              </a:rPr>
              <a:t>! Az </a:t>
            </a:r>
            <a:r>
              <a:rPr sz="1050" dirty="0" err="1">
                <a:cs typeface="Calibri"/>
              </a:rPr>
              <a:t>új</a:t>
            </a:r>
            <a:r>
              <a:rPr sz="1050" dirty="0">
                <a:cs typeface="Calibri"/>
              </a:rPr>
              <a:t> Nilfisk </a:t>
            </a:r>
            <a:r>
              <a:rPr sz="1050" dirty="0" err="1">
                <a:cs typeface="Calibri"/>
              </a:rPr>
              <a:t>padlótisztítónk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állítható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kormányoszloppal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rendelkezik</a:t>
            </a:r>
            <a:r>
              <a:rPr sz="1050" dirty="0">
                <a:cs typeface="Calibri"/>
              </a:rPr>
              <a:t>, </a:t>
            </a:r>
            <a:r>
              <a:rPr sz="1050" dirty="0" err="1">
                <a:cs typeface="Calibri"/>
              </a:rPr>
              <a:t>így</a:t>
            </a:r>
            <a:r>
              <a:rPr sz="1050" dirty="0">
                <a:cs typeface="Calibri"/>
              </a:rPr>
              <a:t> a </a:t>
            </a:r>
            <a:r>
              <a:rPr sz="1050" dirty="0" err="1">
                <a:cs typeface="Calibri"/>
              </a:rPr>
              <a:t>kezelők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testmagasságtól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függetlenül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kényelmesen</a:t>
            </a:r>
            <a:r>
              <a:rPr sz="1050" dirty="0">
                <a:cs typeface="Calibri"/>
              </a:rPr>
              <a:t>, </a:t>
            </a:r>
            <a:r>
              <a:rPr sz="1050" dirty="0" err="1">
                <a:cs typeface="Calibri"/>
              </a:rPr>
              <a:t>ergonomikus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pozícióban</a:t>
            </a:r>
            <a:r>
              <a:rPr sz="1050" dirty="0">
                <a:cs typeface="Calibri"/>
              </a:rPr>
              <a:t> </a:t>
            </a:r>
            <a:r>
              <a:rPr sz="1050" dirty="0" err="1">
                <a:cs typeface="Calibri"/>
              </a:rPr>
              <a:t>dolgozhatnak</a:t>
            </a:r>
            <a:r>
              <a:rPr sz="1050" dirty="0">
                <a:cs typeface="Calibri"/>
              </a:rPr>
              <a:t>. </a:t>
            </a:r>
            <a:endParaRPr lang="it-IT" sz="1100" dirty="0">
              <a:ea typeface="Calibri"/>
              <a:cs typeface="Calibri"/>
            </a:endParaRPr>
          </a:p>
          <a:p>
            <a:r>
              <a:rPr sz="1100" dirty="0" err="1">
                <a:cs typeface="Calibri"/>
              </a:rPr>
              <a:t>Foglaljon</a:t>
            </a:r>
            <a:r>
              <a:rPr sz="1100" dirty="0">
                <a:cs typeface="Calibri"/>
              </a:rPr>
              <a:t> </a:t>
            </a:r>
            <a:r>
              <a:rPr sz="1100" dirty="0" err="1">
                <a:cs typeface="Calibri"/>
              </a:rPr>
              <a:t>bemutatót</a:t>
            </a:r>
            <a:r>
              <a:rPr sz="1100" dirty="0">
                <a:cs typeface="Calibri"/>
              </a:rPr>
              <a:t> </a:t>
            </a:r>
            <a:r>
              <a:rPr sz="1100" dirty="0" err="1">
                <a:cs typeface="Calibri"/>
              </a:rPr>
              <a:t>elsőként</a:t>
            </a:r>
            <a:endParaRPr sz="1100" dirty="0">
              <a:cs typeface="Calibri"/>
            </a:endParaRPr>
          </a:p>
          <a:p>
            <a:r>
              <a:rPr sz="1100" dirty="0">
                <a:cs typeface="Calibri"/>
              </a:rPr>
              <a:t>(</a:t>
            </a:r>
            <a:r>
              <a:rPr sz="1100" dirty="0" err="1">
                <a:cs typeface="Calibri"/>
              </a:rPr>
              <a:t>Hivatkozás</a:t>
            </a:r>
            <a:r>
              <a:rPr sz="1100" dirty="0">
                <a:cs typeface="Calibri"/>
              </a:rPr>
              <a:t> </a:t>
            </a:r>
            <a:r>
              <a:rPr lang="hu-HU" sz="1100" dirty="0">
                <a:highlight>
                  <a:srgbClr val="FFFF00"/>
                </a:highlight>
                <a:cs typeface="Calibri"/>
              </a:rPr>
              <a:t>https://www.nilfisk.com/hu-hu/professional/campaigns/sc550/#contact</a:t>
            </a:r>
            <a:r>
              <a:rPr sz="1100" dirty="0">
                <a:highlight>
                  <a:srgbClr val="FFFF00"/>
                </a:highlight>
                <a:cs typeface="Calibri"/>
              </a:rPr>
              <a:t>)</a:t>
            </a:r>
            <a:endParaRPr lang="en-US" sz="1200" dirty="0">
              <a:highlight>
                <a:srgbClr val="FFFF00"/>
              </a:highlight>
              <a:ea typeface="Roboto Light"/>
              <a:cs typeface="Roboto Light"/>
            </a:endParaRPr>
          </a:p>
        </p:txBody>
      </p:sp>
      <p:pic>
        <p:nvPicPr>
          <p:cNvPr id="6" name="Organic SoMe #6 1x1">
            <a:hlinkClick r:id="" action="ppaction://media"/>
            <a:extLst>
              <a:ext uri="{FF2B5EF4-FFF2-40B4-BE49-F238E27FC236}">
                <a16:creationId xmlns:a16="http://schemas.microsoft.com/office/drawing/2014/main" id="{90DBC30E-7F37-CEA6-8345-BB520A5B47E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17111" y="3391973"/>
            <a:ext cx="1949462" cy="1949462"/>
          </a:xfrm>
          <a:prstGeom prst="rect">
            <a:avLst/>
          </a:prstGeom>
        </p:spPr>
      </p:pic>
      <p:sp>
        <p:nvSpPr>
          <p:cNvPr id="15" name="Pladsholder til tekst 3">
            <a:extLst>
              <a:ext uri="{FF2B5EF4-FFF2-40B4-BE49-F238E27FC236}">
                <a16:creationId xmlns:a16="http://schemas.microsoft.com/office/drawing/2014/main" id="{5A75E166-1730-A958-CDEC-B563400EF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sz="800"/>
              <a:t>Méret: 1200x1200</a:t>
            </a:r>
          </a:p>
          <a:p>
            <a:r>
              <a:rPr sz="800"/>
              <a:t>Felelős: Thomas/Ashton</a:t>
            </a:r>
          </a:p>
          <a:p>
            <a:r>
              <a:rPr sz="800"/>
              <a:t>Státusz: Jóváhagyásra vár</a:t>
            </a:r>
            <a:endParaRPr lang="en-DK" sz="800"/>
          </a:p>
        </p:txBody>
      </p:sp>
    </p:spTree>
    <p:extLst>
      <p:ext uri="{BB962C8B-B14F-4D97-AF65-F5344CB8AC3E}">
        <p14:creationId xmlns:p14="http://schemas.microsoft.com/office/powerpoint/2010/main" val="348895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426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261087-ddb5-4fc3-ae00-ca27a6304815" xsi:nil="true"/>
    <lcf76f155ced4ddcb4097134ff3c332f xmlns="101d09d1-2fba-4d93-a45c-1211151ee78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A32B75B72E9AD4B897284067DA3336A" ma:contentTypeVersion="12" ma:contentTypeDescription="Creare un nuovo documento." ma:contentTypeScope="" ma:versionID="2988c7e38b2fe8fb0b596334a516c6be">
  <xsd:schema xmlns:xsd="http://www.w3.org/2001/XMLSchema" xmlns:xs="http://www.w3.org/2001/XMLSchema" xmlns:p="http://schemas.microsoft.com/office/2006/metadata/properties" xmlns:ns2="101d09d1-2fba-4d93-a45c-1211151ee786" xmlns:ns3="9a261087-ddb5-4fc3-ae00-ca27a6304815" targetNamespace="http://schemas.microsoft.com/office/2006/metadata/properties" ma:root="true" ma:fieldsID="7a7029ea874ee2402871f13a3c7e345d" ns2:_="" ns3:_="">
    <xsd:import namespace="101d09d1-2fba-4d93-a45c-1211151ee786"/>
    <xsd:import namespace="9a261087-ddb5-4fc3-ae00-ca27a6304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d09d1-2fba-4d93-a45c-1211151ee7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61087-ddb5-4fc3-ae00-ca27a630481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0acf073-156a-45c2-8748-f00f6b029fee}" ma:internalName="TaxCatchAll" ma:showField="CatchAllData" ma:web="9a261087-ddb5-4fc3-ae00-ca27a6304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schemas.microsoft.com/office/2006/documentManagement/types"/>
    <ds:schemaRef ds:uri="9a261087-ddb5-4fc3-ae00-ca27a6304815"/>
    <ds:schemaRef ds:uri="101d09d1-2fba-4d93-a45c-1211151ee786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2AB0F67-61F6-4EE8-9767-D6AB32D46E69}">
  <ds:schemaRefs>
    <ds:schemaRef ds:uri="101d09d1-2fba-4d93-a45c-1211151ee786"/>
    <ds:schemaRef ds:uri="9a261087-ddb5-4fc3-ae00-ca27a630481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PT Template</Template>
  <TotalTime>160</TotalTime>
  <Words>603</Words>
  <Application>Microsoft Office PowerPoint</Application>
  <PresentationFormat>Widescreen</PresentationFormat>
  <Paragraphs>65</Paragraphs>
  <Slides>5</Slides>
  <Notes>0</Notes>
  <HiddenSlides>0</HiddenSlides>
  <MMClips>4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Courier New</vt:lpstr>
      <vt:lpstr>Roboto</vt:lpstr>
      <vt:lpstr>Roboto Black</vt:lpstr>
      <vt:lpstr>Roboto Bold</vt:lpstr>
      <vt:lpstr>Roboto Light</vt:lpstr>
      <vt:lpstr>Segoe UI</vt:lpstr>
      <vt:lpstr>Nilfisk Toolbox_Standard_4-3</vt:lpstr>
      <vt:lpstr>Brugerdefineret design</vt:lpstr>
      <vt:lpstr>Diapositiva think-cell</vt:lpstr>
      <vt:lpstr>Viszonteladók ügyfeleinek</vt:lpstr>
      <vt:lpstr>Viszonteladók ügyfeleinek SoMe #1</vt:lpstr>
      <vt:lpstr>Viszonteladók ügyfeleinek SoMe #2</vt:lpstr>
      <vt:lpstr>Viszonteladók ügyfeleinek SoMe #3</vt:lpstr>
      <vt:lpstr>Viszonteladók ügyfeleinek SoMe #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550 Launch Campaign</dc:title>
  <dc:creator>Bill Fryman</dc:creator>
  <cp:lastModifiedBy>Đặng Dương</cp:lastModifiedBy>
  <cp:revision>11</cp:revision>
  <dcterms:created xsi:type="dcterms:W3CDTF">2024-08-06T07:13:30Z</dcterms:created>
  <dcterms:modified xsi:type="dcterms:W3CDTF">2024-10-29T10:4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4A32B75B72E9AD4B897284067DA3336A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